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4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5</c:v>
                </c:pt>
                <c:pt idx="1">
                  <c:v>18</c:v>
                </c:pt>
                <c:pt idx="2">
                  <c:v>30</c:v>
                </c:pt>
                <c:pt idx="3">
                  <c:v>28</c:v>
                </c:pt>
                <c:pt idx="4">
                  <c:v>37</c:v>
                </c:pt>
                <c:pt idx="5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24C-40A3-BBA4-655FE36067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0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124C-40A3-BBA4-655FE36067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31586248"/>
        <c:axId val="431589856"/>
      </c:barChart>
      <c:catAx>
        <c:axId val="431586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9856"/>
        <c:crosses val="autoZero"/>
        <c:auto val="1"/>
        <c:lblAlgn val="ctr"/>
        <c:lblOffset val="100"/>
        <c:noMultiLvlLbl val="0"/>
      </c:catAx>
      <c:valAx>
        <c:axId val="431589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6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 baseline="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476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58DE0-8D62-3C29-AD8E-19EF2C9AC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1AA8002-6669-7EA7-F7C3-10A0633B9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AA8002-6669-7EA7-F7C3-10A0633B9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85C7E7-D736-9CD3-B88B-5EE010981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08382C3-11CC-C3E6-7E8E-EB743D476B95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C0B414F-7721-F052-B45B-40334D7DC53C}"/>
              </a:ext>
            </a:extLst>
          </p:cNvPr>
          <p:cNvGraphicFramePr>
            <a:graphicFrameLocks/>
          </p:cNvGraphicFramePr>
          <p:nvPr/>
        </p:nvGraphicFramePr>
        <p:xfrm>
          <a:off x="628649" y="2201564"/>
          <a:ext cx="16001079" cy="5883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39218DCD-D627-3EF8-3E40-A61076B56C4F}"/>
              </a:ext>
            </a:extLst>
          </p:cNvPr>
          <p:cNvSpPr/>
          <p:nvPr/>
        </p:nvSpPr>
        <p:spPr>
          <a:xfrm>
            <a:off x="6007331" y="8117328"/>
            <a:ext cx="515223" cy="51522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7580E5-0AEC-316C-DB49-DDBE3EF140D6}"/>
              </a:ext>
            </a:extLst>
          </p:cNvPr>
          <p:cNvSpPr txBox="1"/>
          <p:nvPr/>
        </p:nvSpPr>
        <p:spPr>
          <a:xfrm>
            <a:off x="6692789" y="8236443"/>
            <a:ext cx="212974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Insert Text Her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A198746-9561-546B-D5DC-EB003409C052}"/>
              </a:ext>
            </a:extLst>
          </p:cNvPr>
          <p:cNvSpPr/>
          <p:nvPr/>
        </p:nvSpPr>
        <p:spPr>
          <a:xfrm>
            <a:off x="9435027" y="8117328"/>
            <a:ext cx="515223" cy="51522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50563-0B42-9D9F-D42F-B81FB206D6E4}"/>
              </a:ext>
            </a:extLst>
          </p:cNvPr>
          <p:cNvSpPr txBox="1"/>
          <p:nvPr/>
        </p:nvSpPr>
        <p:spPr>
          <a:xfrm>
            <a:off x="10120490" y="8236443"/>
            <a:ext cx="221432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918861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56</TotalTime>
  <Words>10</Words>
  <Application>Microsoft Office PowerPoint</Application>
  <PresentationFormat>Custom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81</cp:revision>
  <dcterms:created xsi:type="dcterms:W3CDTF">2006-08-16T00:00:00Z</dcterms:created>
  <dcterms:modified xsi:type="dcterms:W3CDTF">2025-10-06T10:01:46Z</dcterms:modified>
  <cp:category/>
  <dc:identifier>DAGkDf5R9EM</dc:identifier>
</cp:coreProperties>
</file>